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69" r:id="rId2"/>
    <p:sldId id="256" r:id="rId3"/>
    <p:sldId id="257" r:id="rId4"/>
    <p:sldId id="264" r:id="rId5"/>
    <p:sldId id="258" r:id="rId6"/>
    <p:sldId id="259" r:id="rId7"/>
    <p:sldId id="260" r:id="rId8"/>
    <p:sldId id="261" r:id="rId9"/>
    <p:sldId id="262" r:id="rId10"/>
    <p:sldId id="263" r:id="rId11"/>
    <p:sldId id="265" r:id="rId12"/>
    <p:sldId id="266" r:id="rId13"/>
    <p:sldId id="267" r:id="rId1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7" autoAdjust="0"/>
    <p:restoredTop sz="94660"/>
  </p:normalViewPr>
  <p:slideViewPr>
    <p:cSldViewPr snapToGrid="0">
      <p:cViewPr varScale="1">
        <p:scale>
          <a:sx n="160" d="100"/>
          <a:sy n="160" d="100"/>
        </p:scale>
        <p:origin x="11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5:21.53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309 786 24575,'254'3'0,"272"-6"0,-169-32 0,-30 1 0,105 19 0,402-6 0,103 6 0,-575 18 0,2474-3 0,-2580 10 0,-93-2 0,-59 1 0,-69-5 0,-1-1 0,0-2 0,67-5 0,-79-1 0,1-1 0,34-14 0,33-8 0,67 4 0,-154 24 0,0-1 0,0 1 0,0-1 0,0 0 0,0 0 0,-1 0 0,1-1 0,0 1 0,-1 0 0,1-1 0,-1 0 0,1 0 0,-1 0 0,0 0 0,0 0 0,0 0 0,0 0 0,0-1 0,0 1 0,0-1 0,-1 1 0,0-1 0,1 0 0,-1 0 0,0 1 0,1-6 0,2-8 0,-1-1 0,0 1 0,0-31 0,-1 10 0,1 15 0,-1 11 0,0-1 0,-1 0 0,0 0 0,-1-1 0,0 1 0,-1 0 0,0 0 0,-4-14 0,4 25 0,0-1 0,0 1 0,0-1 0,-1 1 0,1-1 0,0 1 0,-1 0 0,1 0 0,-1 0 0,1 0 0,-1 0 0,0 0 0,1 0 0,-1 0 0,0 1 0,0-1 0,0 0 0,1 1 0,-1 0 0,0-1 0,-3 1 0,-45-1 0,36 2 0,-65-2 0,-140 5 0,201-2 0,1 0 0,-1 0 0,0 2 0,1 0 0,0 2 0,-26 10 0,42-16 0,0 1 0,-1 0 0,1-1 0,0 1 0,-1 0 0,1 0 0,0 0 0,0 0 0,0 0 0,0 0 0,0 1 0,0-1 0,0 0 0,0 0 0,0 1 0,0-1 0,1 0 0,-1 1 0,1-1 0,-1 1 0,1-1 0,-1 1 0,1-1 0,0 1 0,0-1 0,0 1 0,0-1 0,0 1 0,0-1 0,0 1 0,0-1 0,1 1 0,-1-1 0,0 1 0,1-1 0,0 1 0,-1-1 0,1 1 0,0-1 0,0 0 0,-1 0 0,1 1 0,2 1 0,0 1 0,1 0 0,-1-1 0,1 1 0,0-1 0,0 1 0,0-1 0,0 0 0,1-1 0,-1 1 0,1-1 0,9 4 0,283 51 0,-291-55 0,1 1 0,0 0 0,-1 1 0,0 0 0,0 0 0,0 0 0,0 0 0,-1 1 0,0 0 0,1 0 0,-2 1 0,8 10 0,28 26 0,-36-38 0,0 0 0,-1 0 0,1 0 0,-1 0 0,0 0 0,0 1 0,-1 0 0,0-1 0,1 1 0,-1 0 0,-1 0 0,1 0 0,-1 0 0,1 11 0,-1-7 0,0 1 0,-1-1 0,0 1 0,-1-1 0,0 1 0,0-1 0,-5 16 0,5-22 0,-1 0 0,1 0 0,-1 0 0,0 0 0,0 0 0,0 0 0,0 0 0,0-1 0,-1 1 0,1-1 0,-1 0 0,0 0 0,-5 4 0,-48 22 0,18-10 0,35-16 0,-1-1 0,0 0 0,0 0 0,1 0 0,-1-1 0,0 1 0,0-1 0,0 0 0,0 0 0,0 0 0,0 0 0,0-1 0,0 0 0,1 0 0,-1 0 0,0 0 0,0 0 0,1-1 0,-7-3 0,-12-7 0,2 0 0,-23-18 0,13 10 0,-106-73 0,-142-127 0,247 196 0,0 2 0,-2 0 0,-1 3 0,0 0 0,-2 3 0,0 1 0,-69-20 0,59 25 0,0 2 0,-1 2 0,0 2 0,0 2 0,-83 8 0,106-3 0,0 2 0,0 0 0,0 2 0,1 0 0,-28 14 0,-29 8 0,58-24 0,1-2 0,-1 0 0,0-2 0,-1 0 0,-41-5 0,-3 1 0,-1142 3 0,1160 3 0,-69 11 0,-25 2 0,-570-12 0,369-7 0,-254 26 0,283-12 0,30-2 0,-33-1 0,-9 1 0,-242 0 0,336-12 0,225 3 0,1 1 0,-1-2 0,1 1 0,-1-1 0,1 0 0,-1-1 0,1 0 0,-14-5 0,18 5 0,0 0 0,1 0 0,0 0 0,-1 0 0,1 0 0,0-1 0,0 1 0,0-1 0,0 1 0,0-1 0,1 0 0,-1 0 0,1 0 0,0 1 0,0-1 0,0-1 0,0 1 0,0 0 0,1 0 0,-1 0 0,1 0 0,0 0 0,1-7 0,-1-16 0,1 21 0,-1 0 0,0 0 0,0 0 0,0 1 0,-1-1 0,1 0 0,-1 0 0,-3-7 0,3 10 0,0 0 0,-1 0 0,1 1 0,-1-1 0,1 0 0,-1 1 0,0-1 0,0 1 0,1 0 0,-1-1 0,0 1 0,0 0 0,0 0 0,0 0 0,-1 1 0,1-1 0,0 0 0,0 1 0,0 0 0,-1-1 0,1 1 0,0 0 0,-3 0 0,-103-1 0,82 2 0,78 0 0,171-5 0,264-40 0,-437 36 0,-43 5 0,-9 1 0,-23-2 0,-38 2 0,35 2 0,-17 2 0,0-2 0,-1-2 0,1-2 0,0-2 0,-77-20 0,10-17 0,82 30 0,0 1 0,-1 1 0,-1 1 0,1 2 0,-63-8 0,-462-1 0,128 32 0,420-15 0,-36 2 0,-14 1 0,-91 14 0,-5 10 0,60-12 0,-97 28 0,183-40 0,1 0 0,0 0 0,0 1 0,0 0 0,1 0 0,-1 1 0,1-1 0,0 2 0,0-1 0,1 0 0,-1 1 0,1 0 0,1 0 0,-1 1 0,1-1 0,0 1 0,0 0 0,1 0 0,0 1 0,1-1 0,-1 0 0,-1 14 0,-1 0 0,2 0 0,1 1 0,1 0 0,0-1 0,2 1 0,0 0 0,5 22 0,-4-34 0,1-1 0,0 0 0,0 0 0,1 0 0,0 0 0,0-1 0,1 1 0,10 13 0,56 57 0,-48-56 0,-14-15 0,0-1 0,0 1 0,1-2 0,0 1 0,1-1 0,0-1 0,-1 0 0,2 0 0,-1-1 0,13 3 0,22 3 0,57 6 0,-71-11 0,68 10 0,1-4 0,0-4 0,104-7 0,-180-4 0,0-2 0,0 0 0,0-2 0,-1 0 0,0-2 0,23-13 0,-11 6 0,53-16 0,-77 29 0,1-1 0,-1 0 0,0-1 0,0 0 0,-1 0 0,0-1 0,0-1 0,12-10 0,-21 16 0,1 0 0,0-1 0,-1 1 0,0-1 0,0 1 0,0-1 0,0 0 0,0 1 0,0-1 0,-1 0 0,1 0 0,-1 0 0,0-1 0,0 1 0,0 0 0,0 0 0,0-1 0,-1 1 0,0 0 0,0-1 0,0 1 0,0 0 0,0-1 0,0 1 0,-1 0 0,0-1 0,0 1 0,0 0 0,0 0 0,0 0 0,0-1 0,-1 1 0,0 1 0,1-1 0,-1 0 0,-3-3 0,-14-19 0,10 13 0,0 0 0,-1 1 0,-11-10 0,17 17 0,1 1 0,-1 1 0,0-1 0,0 1 0,-1-1 0,1 1 0,0 0 0,-1 1 0,1-1 0,-1 1 0,1 0 0,-1 0 0,-8 0 0,-114 0 0,86 2 0,1-1 0,-1-2 0,1-1 0,-79-18 0,103 16 0,-23-8 0,-2 2 0,1 2 0,-1 2 0,-82-5 0,102 12 0,0 1 0,0 1 0,0 1 0,0 1 0,-25 8 0,39-10 0,-1 1 0,0 1 0,1-1 0,-1 1 0,1 0 0,0 1 0,0 0 0,1 0 0,-1 0 0,1 1 0,1 0 0,-1 0 0,1 0 0,0 1 0,0 0 0,-5 10 0,8-13 0,0-1 0,0 1 0,1-1 0,0 1 0,0-1 0,0 1 0,0 0 0,0-1 0,1 1 0,-1 0 0,1 0 0,0 0 0,0-1 0,1 1 0,-1 0 0,1 0 0,-1 0 0,1-1 0,2 5 0,2 0 0,0 0 0,0 0 0,1-1 0,0 0 0,0 0 0,9 8 0,-11-11 0,2 3 0,1 0 0,0 0 0,0-1 0,1 0 0,0 0 0,0-1 0,0 0 0,1 0 0,0-1 0,0 0 0,0 0 0,0-1 0,0 0 0,1-1 0,-1 0 0,1-1 0,0 0 0,0 0 0,15-1 0,322-3-136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1.93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0 1 24575,'1'1'0,"0"1"0,-1-1 0,1 0 0,0 0 0,0 1 0,0-1 0,0 0 0,0 0 0,0 0 0,0 0 0,0 0 0,0 0 0,1-1 0,-1 1 0,0 0 0,1 0 0,-1-1 0,0 1 0,1-1 0,-1 1 0,3-1 0,38 12 0,-36-11 0,43 8 0,0-2 0,72 0 0,-35-2 0,159 2 0,29 2 0,-82-2-136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4.596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1 24575,'1023'0'0,"-931"9"134,-21-1-1633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7.645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834 0 24575,'-560'17'0,"287"-18"-1365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09.940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097 1 24575,'-638'0'0,"473"17"0,113-18 0,24-1 0,0 2 0,0 1 0,1 1 0,-34 8 0,-9-3-1365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11-09T14:16:12.611"/>
    </inkml:context>
    <inkml:brush xml:id="br0">
      <inkml:brushProperty name="width" value="0.35" units="cm"/>
      <inkml:brushProperty name="height" value="0.35" units="cm"/>
      <inkml:brushProperty name="color" value="#FFFFFF"/>
    </inkml:brush>
  </inkml:definitions>
  <inkml:trace contextRef="#ctx0" brushRef="#br0">1 67 24575,'128'3'0,"-56"0"0,0-4 0,119-14 0,-117 0 0,-38 6 0,0 3 0,39-3 0,50 1 0,69-2 0,-94 10-1365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07E3C8-A125-4C13-9594-09E3ED2D35A9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9A71BA-1DDE-4A7F-A52F-7F3C96AA1BC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53945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6427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FED5CAA-1DE7-82B3-7B50-A7609C02B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2EE06FB-AE07-ED0A-5155-E55BEB8F8F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D5088B7-768F-DF4F-9E0B-F7A05B152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709474F-CDF2-C28E-EBD4-1BAAD1BA9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7B86E91-85FD-A51C-8F22-001BFA7B27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49657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86E56A-C23B-78C5-73B3-62FE5CE26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DB88002-CBCE-75A9-F840-5FCF1FB2A6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262700C-3CE9-CD77-45F1-E851820C2A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F18F677-4CBE-B9E7-31AE-0D11EEE51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805F1EE-719F-2652-3A5F-32053C503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8256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4470FBCE-F8F1-2457-75DF-82363C6B88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24AF85A6-23CB-9A0C-16C3-4194DAAD2C0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7650490-52F6-1602-1C37-A7C4E5FC5E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6E4B0C8-37C3-31BA-80D5-535DD3CE7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BFF8EF4-8A88-62BB-B95F-68DF5FA19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558463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A0216AE-50D7-4981-9761-C6969EBC9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30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A0216AE-50D7-4981-9761-C6969EBC9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770776F-C6E1-4709-BFE0-C9D9F4711C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66541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AB6F61-8CD0-5EEC-9214-D7AC4F7D14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F88927-D160-2B3D-26BE-EEF25DD383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52F3E94-0F62-FD0C-3DE3-C40EBC915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C75A073-99E7-D3F0-D237-60569BE5A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8AA3F94-A8A4-CFCB-2A2C-CBAD53BE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1719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B839ED-5200-DCB0-64E1-340A35B9E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BD5D40-15C4-6044-8E71-1093EC85CB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0416A4-2E4B-9C66-6E75-21B4A0A15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96451E0-8AF3-024C-AF1D-CF45660C4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D1ED65-B4AE-3AD6-4CF7-6203D108E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53781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E33DA0-30DB-29F8-3D16-BAC4A898D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E872397-A918-AB32-0668-EA0DB47615E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30F479B-0C66-6618-5221-AF48F096A5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09A2CAF-3A1B-FBD1-06E5-6738D3D7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CFE1008-17E0-8A0E-279D-85991F7AB6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7861FF1-B433-6DF9-E788-74346723E7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7631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DE018F-CF9B-F8AF-104A-7E25A70C2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EEFF992-ABA6-8405-4634-99C1B10FC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0E9C51D-62DD-FE77-2224-6CEC9A0875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7530CF2-F8C4-F525-EDF4-8079C0FC9B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2D555053-31DA-DD0D-2459-1F97DB5952F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8501A2FF-F682-9653-82CF-E222F19B3D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38408A1-FFB5-DDD2-6385-2AFA787793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5C09D332-5F5D-FE25-167E-3A4F74788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4703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B714F44-E646-6DAF-F316-6369EC8D9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395F58C-D699-07FF-B7A9-78F82BEC89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9987FDA9-9C96-75E4-DCEA-7CC4907AF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EDFFF3-2DF4-C03E-DFBC-6C5A648A4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799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46BA51B-2F90-4AA1-A256-804CE25BE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FCE4C3E-3DE2-011F-C1BB-9F36F9E5C7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DF48FA1-4C0D-F84C-FCB6-4C62493B3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6041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A7056B-06CB-E8AA-89FD-BA607BD5A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6A052C3-2557-B87A-7C9B-B3F05E019A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17A0ECB-E84F-DE96-35D3-8A36C522A86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EF13ED6-4E84-0EAC-1153-CDC8C6C1A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D7D8E25-9CCF-276A-8516-600D9D4BC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40D1A359-0E88-2506-41DD-30D180B461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002119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D6111F-9876-7699-9585-1F1DF631B7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506D9645-637A-6351-443E-18A4472462D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376B6AE-F608-8AFC-7D9A-2D2986168A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ED1841C4-2C26-DC81-3EB6-FBDC71926F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99B174B-A504-E051-148F-C56900C13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8CC91AC-94ED-7A68-D6A0-64F91DBB3C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07034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88231BF5-E2CE-E288-3EC7-83EBDB3AC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EEC048F-477B-94B8-C984-B6A6CFF10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DF029C3-6F4D-9BF6-DE07-35DA17974B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31E22F-988D-49C5-8E4C-A70311E21F5D}" type="datetimeFigureOut">
              <a:rPr lang="nb-NO" smtClean="0"/>
              <a:t>13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7847E39-B8E1-2C60-12F0-391AE6E961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F3B171E-09E1-F692-20C8-AA031F120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98CFED-71C7-4A18-B4B9-1D64A67838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4215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customXml" Target="../ink/ink2.xml"/><Relationship Id="rId7" Type="http://schemas.openxmlformats.org/officeDocument/2006/relationships/customXml" Target="../ink/ink4.xml"/><Relationship Id="rId12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customXml" Target="../ink/ink6.xml"/><Relationship Id="rId5" Type="http://schemas.openxmlformats.org/officeDocument/2006/relationships/customXml" Target="../ink/ink3.xml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customXml" Target="../ink/ink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C9CAEC-585C-4639-8DD8-96A4D4373B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003" imgH="1003" progId="TCLayout.ActiveDocument.1">
                  <p:embed/>
                </p:oleObj>
              </mc:Choice>
              <mc:Fallback>
                <p:oleObj name="think-cell Slide" r:id="rId5" imgW="1003" imgH="10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C9CAEC-585C-4639-8DD8-96A4D4373B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03B3AA-FFF9-4CF4-A393-B5D374EC9F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F8359F38-7B44-4E15-8981-05BB83912B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Brukerveiledning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AE0247B-CC69-4400-93EA-DB816A5C44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nb-NO" dirty="0">
                <a:solidFill>
                  <a:schemeClr val="tx1"/>
                </a:solidFill>
                <a:cs typeface="Arial"/>
              </a:rPr>
              <a:t>Honorarskjema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EC6B12-CF45-421C-B142-2BF6FBDD6250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US" dirty="0">
                <a:latin typeface="Georgia"/>
              </a:rPr>
              <a:t>Dette </a:t>
            </a:r>
            <a:r>
              <a:rPr lang="nb-NO" dirty="0">
                <a:latin typeface="Georgia"/>
              </a:rPr>
              <a:t>dokumentet har som hensikt å veilede bruken av </a:t>
            </a:r>
            <a:r>
              <a:rPr lang="nb-NO" dirty="0" err="1">
                <a:latin typeface="Georgia"/>
              </a:rPr>
              <a:t>OutSystems</a:t>
            </a:r>
            <a:r>
              <a:rPr lang="nb-NO" dirty="0">
                <a:latin typeface="Georgia"/>
              </a:rPr>
              <a:t>-løsningen ‘Honorarskjema'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A17F6DD-BE09-4560-9258-784B9C37F05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66588" y="6413500"/>
            <a:ext cx="125412" cy="123825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1</a:t>
            </a:fld>
            <a:endParaRPr lang="nb-NO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83C5D7C-C84C-1EC0-60B4-0229E31A0CD4}"/>
              </a:ext>
            </a:extLst>
          </p:cNvPr>
          <p:cNvSpPr txBox="1">
            <a:spLocks/>
          </p:cNvSpPr>
          <p:nvPr/>
        </p:nvSpPr>
        <p:spPr>
          <a:xfrm>
            <a:off x="9983986" y="6225995"/>
            <a:ext cx="1966587" cy="2782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.AppleSystemUIFont" charset="-120"/>
              <a:buNone/>
              <a:defRPr sz="1500" b="0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latin typeface="Georgia"/>
              </a:rPr>
              <a:t>Sist </a:t>
            </a:r>
            <a:r>
              <a:rPr lang="en-US" sz="1200" dirty="0" err="1">
                <a:latin typeface="Georgia"/>
              </a:rPr>
              <a:t>oppdatert</a:t>
            </a:r>
            <a:r>
              <a:rPr lang="en-US" sz="1200" dirty="0">
                <a:latin typeface="Georgia"/>
              </a:rPr>
              <a:t>: 09.11.2023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43499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849E1CC5-81D6-F68A-6B38-54FB272E59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1874" y="586582"/>
            <a:ext cx="9760867" cy="6271418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1ACE1A-DD3B-0410-4E07-8B6319831B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5833" y="1808208"/>
            <a:ext cx="2939881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ignering av skjema for norske sensorer.</a:t>
            </a:r>
          </a:p>
          <a:p>
            <a:r>
              <a:rPr lang="nb-NO" sz="2400" dirty="0"/>
              <a:t>Ved trykk på «Signer og send skjema» sendes brukeren til side for digital signering.</a:t>
            </a:r>
          </a:p>
        </p:txBody>
      </p:sp>
    </p:spTree>
    <p:extLst>
      <p:ext uri="{BB962C8B-B14F-4D97-AF65-F5344CB8AC3E}">
        <p14:creationId xmlns:p14="http://schemas.microsoft.com/office/powerpoint/2010/main" val="22387403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C5BD3BC-4D02-D558-86EC-88FFDF71C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1548" y="25225"/>
            <a:ext cx="9760452" cy="680755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17AC706-2A2F-F4E4-30D7-D8243D7A4E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4726" y="1843042"/>
            <a:ext cx="2436223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ignering av skjema for utenlandsk sensor.</a:t>
            </a:r>
          </a:p>
          <a:p>
            <a:r>
              <a:rPr lang="nb-NO" sz="2400" dirty="0"/>
              <a:t>Skjema må lastes ned og signert versjon må lastes opp.</a:t>
            </a:r>
          </a:p>
        </p:txBody>
      </p:sp>
    </p:spTree>
    <p:extLst>
      <p:ext uri="{BB962C8B-B14F-4D97-AF65-F5344CB8AC3E}">
        <p14:creationId xmlns:p14="http://schemas.microsoft.com/office/powerpoint/2010/main" val="29353469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178D3730-FD0E-6906-06E3-20C4EA0936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7530" y="0"/>
            <a:ext cx="9614470" cy="6858000"/>
          </a:xfrm>
          <a:prstGeom prst="rect">
            <a:avLst/>
          </a:prstGeom>
        </p:spPr>
      </p:pic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71066CA8-2EF1-2BFE-2A0C-0B7B6C7965AE}"/>
              </a:ext>
            </a:extLst>
          </p:cNvPr>
          <p:cNvSpPr txBox="1">
            <a:spLocks/>
          </p:cNvSpPr>
          <p:nvPr/>
        </p:nvSpPr>
        <p:spPr>
          <a:xfrm>
            <a:off x="254726" y="1843042"/>
            <a:ext cx="243622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2400" dirty="0"/>
              <a:t>Signering av skjema for utenlandsk sensor.</a:t>
            </a:r>
          </a:p>
          <a:p>
            <a:r>
              <a:rPr lang="nb-NO" sz="2400" dirty="0"/>
              <a:t>Skjema må lastes ned og signert versjon må lastes opp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2" name="Håndskrift 1">
                <a:extLst>
                  <a:ext uri="{FF2B5EF4-FFF2-40B4-BE49-F238E27FC236}">
                    <a16:creationId xmlns:a16="http://schemas.microsoft.com/office/drawing/2014/main" id="{1F6C3B06-1C51-D4DA-B6D2-19B7F999A37D}"/>
                  </a:ext>
                </a:extLst>
              </p14:cNvPr>
              <p14:cNvContentPartPr/>
              <p14:nvPr/>
            </p14:nvContentPartPr>
            <p14:xfrm>
              <a:off x="3001746" y="1232877"/>
              <a:ext cx="393120" cy="30600"/>
            </p14:xfrm>
          </p:contentPart>
        </mc:Choice>
        <mc:Fallback xmlns="">
          <p:pic>
            <p:nvPicPr>
              <p:cNvPr id="2" name="Håndskrift 1">
                <a:extLst>
                  <a:ext uri="{FF2B5EF4-FFF2-40B4-BE49-F238E27FC236}">
                    <a16:creationId xmlns:a16="http://schemas.microsoft.com/office/drawing/2014/main" id="{1F6C3B06-1C51-D4DA-B6D2-19B7F999A37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938746" y="1170237"/>
                <a:ext cx="518760" cy="156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3" name="Håndskrift 2">
                <a:extLst>
                  <a:ext uri="{FF2B5EF4-FFF2-40B4-BE49-F238E27FC236}">
                    <a16:creationId xmlns:a16="http://schemas.microsoft.com/office/drawing/2014/main" id="{7041DD46-4EB5-75B2-3BD7-181DF6C8196C}"/>
                  </a:ext>
                </a:extLst>
              </p14:cNvPr>
              <p14:cNvContentPartPr/>
              <p14:nvPr/>
            </p14:nvContentPartPr>
            <p14:xfrm>
              <a:off x="5925306" y="1250877"/>
              <a:ext cx="427320" cy="6480"/>
            </p14:xfrm>
          </p:contentPart>
        </mc:Choice>
        <mc:Fallback xmlns="">
          <p:pic>
            <p:nvPicPr>
              <p:cNvPr id="3" name="Håndskrift 2">
                <a:extLst>
                  <a:ext uri="{FF2B5EF4-FFF2-40B4-BE49-F238E27FC236}">
                    <a16:creationId xmlns:a16="http://schemas.microsoft.com/office/drawing/2014/main" id="{7041DD46-4EB5-75B2-3BD7-181DF6C8196C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862666" y="1188237"/>
                <a:ext cx="552960" cy="132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4" name="Håndskrift 3">
                <a:extLst>
                  <a:ext uri="{FF2B5EF4-FFF2-40B4-BE49-F238E27FC236}">
                    <a16:creationId xmlns:a16="http://schemas.microsoft.com/office/drawing/2014/main" id="{E386BFE7-00C3-BD30-29FA-88BD5D095762}"/>
                  </a:ext>
                </a:extLst>
              </p14:cNvPr>
              <p14:cNvContentPartPr/>
              <p14:nvPr/>
            </p14:nvContentPartPr>
            <p14:xfrm>
              <a:off x="8741586" y="1239357"/>
              <a:ext cx="300240" cy="6480"/>
            </p14:xfrm>
          </p:contentPart>
        </mc:Choice>
        <mc:Fallback xmlns="">
          <p:pic>
            <p:nvPicPr>
              <p:cNvPr id="4" name="Håndskrift 3">
                <a:extLst>
                  <a:ext uri="{FF2B5EF4-FFF2-40B4-BE49-F238E27FC236}">
                    <a16:creationId xmlns:a16="http://schemas.microsoft.com/office/drawing/2014/main" id="{E386BFE7-00C3-BD30-29FA-88BD5D095762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8678946" y="1176357"/>
                <a:ext cx="425880" cy="1321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6" name="Håndskrift 5">
                <a:extLst>
                  <a:ext uri="{FF2B5EF4-FFF2-40B4-BE49-F238E27FC236}">
                    <a16:creationId xmlns:a16="http://schemas.microsoft.com/office/drawing/2014/main" id="{7D68BA46-16A4-AF33-426C-06430EA701C2}"/>
                  </a:ext>
                </a:extLst>
              </p14:cNvPr>
              <p14:cNvContentPartPr/>
              <p14:nvPr/>
            </p14:nvContentPartPr>
            <p14:xfrm>
              <a:off x="5963826" y="1611957"/>
              <a:ext cx="395280" cy="12600"/>
            </p14:xfrm>
          </p:contentPart>
        </mc:Choice>
        <mc:Fallback xmlns="">
          <p:pic>
            <p:nvPicPr>
              <p:cNvPr id="6" name="Håndskrift 5">
                <a:extLst>
                  <a:ext uri="{FF2B5EF4-FFF2-40B4-BE49-F238E27FC236}">
                    <a16:creationId xmlns:a16="http://schemas.microsoft.com/office/drawing/2014/main" id="{7D68BA46-16A4-AF33-426C-06430EA701C2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900826" y="1549317"/>
                <a:ext cx="520920" cy="1382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7" name="Håndskrift 6">
                <a:extLst>
                  <a:ext uri="{FF2B5EF4-FFF2-40B4-BE49-F238E27FC236}">
                    <a16:creationId xmlns:a16="http://schemas.microsoft.com/office/drawing/2014/main" id="{D7F8AC48-6D2A-0818-9EF4-0DB81EADFDA0}"/>
                  </a:ext>
                </a:extLst>
              </p14:cNvPr>
              <p14:cNvContentPartPr/>
              <p14:nvPr/>
            </p14:nvContentPartPr>
            <p14:xfrm>
              <a:off x="2989506" y="1642197"/>
              <a:ext cx="397440" cy="26280"/>
            </p14:xfrm>
          </p:contentPart>
        </mc:Choice>
        <mc:Fallback xmlns="">
          <p:pic>
            <p:nvPicPr>
              <p:cNvPr id="7" name="Håndskrift 6">
                <a:extLst>
                  <a:ext uri="{FF2B5EF4-FFF2-40B4-BE49-F238E27FC236}">
                    <a16:creationId xmlns:a16="http://schemas.microsoft.com/office/drawing/2014/main" id="{D7F8AC48-6D2A-0818-9EF4-0DB81EADFDA0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2926866" y="1579197"/>
                <a:ext cx="523080" cy="1519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7915452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F4C13C-EB03-1FAA-1FA9-B4F03A2E6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87C9C33-C3ED-FA3D-4257-DCE31BC2B2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485D6718-5D64-0F8D-212C-F611D7C9E7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4912" y="375811"/>
            <a:ext cx="11822175" cy="6106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409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79B1867-485A-ABC3-77A3-C34C536EB8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867" y="221672"/>
            <a:ext cx="10990266" cy="6414655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Håndskrift 3">
                <a:extLst>
                  <a:ext uri="{FF2B5EF4-FFF2-40B4-BE49-F238E27FC236}">
                    <a16:creationId xmlns:a16="http://schemas.microsoft.com/office/drawing/2014/main" id="{2A3C9ED1-9BA5-A32A-4C02-CD2579B97F9A}"/>
                  </a:ext>
                </a:extLst>
              </p14:cNvPr>
              <p14:cNvContentPartPr/>
              <p14:nvPr/>
            </p14:nvContentPartPr>
            <p14:xfrm>
              <a:off x="749946" y="1034517"/>
              <a:ext cx="3360600" cy="299520"/>
            </p14:xfrm>
          </p:contentPart>
        </mc:Choice>
        <mc:Fallback xmlns="">
          <p:pic>
            <p:nvPicPr>
              <p:cNvPr id="4" name="Håndskrift 3">
                <a:extLst>
                  <a:ext uri="{FF2B5EF4-FFF2-40B4-BE49-F238E27FC236}">
                    <a16:creationId xmlns:a16="http://schemas.microsoft.com/office/drawing/2014/main" id="{2A3C9ED1-9BA5-A32A-4C02-CD2579B97F9A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86946" y="971517"/>
                <a:ext cx="3486240" cy="4251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784269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059B59D-26CD-3171-E773-97E8C56619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924" y="0"/>
            <a:ext cx="9735352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65AC593-1072-9EF3-6729-C82698AAE5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04772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isning av forhåndsutfylte sensurdetaljer med mulighet til å vise utregning</a:t>
            </a:r>
          </a:p>
        </p:txBody>
      </p:sp>
    </p:spTree>
    <p:extLst>
      <p:ext uri="{BB962C8B-B14F-4D97-AF65-F5344CB8AC3E}">
        <p14:creationId xmlns:p14="http://schemas.microsoft.com/office/powerpoint/2010/main" val="3818192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CC4805D7-D259-B0C0-671B-B7BCA5333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3982" y="0"/>
            <a:ext cx="9330894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064CD39-90DA-0F99-4F32-A38654F252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492307" cy="4351338"/>
          </a:xfrm>
        </p:spPr>
        <p:txBody>
          <a:bodyPr>
            <a:normAutofit/>
          </a:bodyPr>
          <a:lstStyle/>
          <a:p>
            <a:r>
              <a:rPr lang="nb-NO" sz="2400" dirty="0"/>
              <a:t>For praktisk eksamen og mappevurdering skal det føres inn medgått tid. </a:t>
            </a:r>
          </a:p>
          <a:p>
            <a:r>
              <a:rPr lang="nb-NO" sz="2400" dirty="0"/>
              <a:t>For (lang) hjemmeeksamen føres det antall timer basert på en bestemt sats i forhold til antall ord.</a:t>
            </a:r>
          </a:p>
        </p:txBody>
      </p:sp>
    </p:spTree>
    <p:extLst>
      <p:ext uri="{BB962C8B-B14F-4D97-AF65-F5344CB8AC3E}">
        <p14:creationId xmlns:p14="http://schemas.microsoft.com/office/powerpoint/2010/main" val="5431653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3A9D1D1-14C6-4FCA-58B9-1FC03C14AD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sz="2400" dirty="0"/>
              <a:t>Økonomi og personalia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E41C6C03-D83B-42BF-BB20-AD4269C8B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7249" y="0"/>
            <a:ext cx="915786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169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E3BD6EB3-2A73-8574-9DA5-116DCF8E69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7857" y="0"/>
            <a:ext cx="9235988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778829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ed valg av utenlandsk bankkonto skal mal for bankopplysningsskjema fylles ut og lastes opp i løsningen. </a:t>
            </a:r>
          </a:p>
        </p:txBody>
      </p:sp>
    </p:spTree>
    <p:extLst>
      <p:ext uri="{BB962C8B-B14F-4D97-AF65-F5344CB8AC3E}">
        <p14:creationId xmlns:p14="http://schemas.microsoft.com/office/powerpoint/2010/main" val="22308283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A3F4003D-8824-EA07-E727-8E2AF9567A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3985" y="-87085"/>
            <a:ext cx="9124328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5A623DF-7EAF-651B-209E-C24AA0C64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68303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ed valg av «Jeg skal ha en annen timesats enn 331 kr/t» skal det lastes opp dokumentasjon.</a:t>
            </a:r>
          </a:p>
          <a:p>
            <a:r>
              <a:rPr lang="nb-NO" sz="2400" dirty="0"/>
              <a:t>Standard timesats er satt til 331 kr/t, men kan justeres ved behov.</a:t>
            </a:r>
          </a:p>
        </p:txBody>
      </p:sp>
    </p:spTree>
    <p:extLst>
      <p:ext uri="{BB962C8B-B14F-4D97-AF65-F5344CB8AC3E}">
        <p14:creationId xmlns:p14="http://schemas.microsoft.com/office/powerpoint/2010/main" val="33270843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31F5DA7-B084-C74F-2EB6-09E4F888B3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2822" y="95795"/>
            <a:ext cx="12192000" cy="6391093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A7AAF96-3746-2BE3-FEED-1D72F86A64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5022669" cy="4351338"/>
          </a:xfrm>
        </p:spPr>
        <p:txBody>
          <a:bodyPr>
            <a:normAutofit/>
          </a:bodyPr>
          <a:lstStyle/>
          <a:p>
            <a:r>
              <a:rPr lang="nb-NO" sz="2400" dirty="0"/>
              <a:t>Sensor har mulighet til å legge til valgfri kommentar, som dukker opp i skjemavisningen i Sensorportalen. </a:t>
            </a:r>
          </a:p>
        </p:txBody>
      </p:sp>
    </p:spTree>
    <p:extLst>
      <p:ext uri="{BB962C8B-B14F-4D97-AF65-F5344CB8AC3E}">
        <p14:creationId xmlns:p14="http://schemas.microsoft.com/office/powerpoint/2010/main" val="40793042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EC2611A-76A6-DB0C-5C0E-0EE4DA882F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3289" y="0"/>
            <a:ext cx="9677902" cy="6858000"/>
          </a:xfrm>
          <a:prstGeom prst="rect">
            <a:avLst/>
          </a:pr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5E2FA18-5CA0-01E0-6AE4-428123D4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561114" cy="4351338"/>
          </a:xfrm>
        </p:spPr>
        <p:txBody>
          <a:bodyPr>
            <a:normAutofit/>
          </a:bodyPr>
          <a:lstStyle/>
          <a:p>
            <a:r>
              <a:rPr lang="nb-NO" sz="2400" dirty="0"/>
              <a:t>Ved avvisning av skjema er kommentar obligatorisk</a:t>
            </a:r>
          </a:p>
          <a:p>
            <a:r>
              <a:rPr lang="nb-NO" sz="2400" dirty="0"/>
              <a:t>For å avvise skjema trykker brukeren først på «Avvis skjema med kommentar» (Se forrige skjermvisning).</a:t>
            </a:r>
          </a:p>
          <a:p>
            <a:r>
              <a:rPr lang="nb-NO" sz="2400" dirty="0"/>
              <a:t>Ved trykk på «Send inn skjema med kommentar» endres status på skjema til «avvist» i Sensortalen. Ved avvisning kreves ingen signatur.</a:t>
            </a:r>
          </a:p>
        </p:txBody>
      </p:sp>
    </p:spTree>
    <p:extLst>
      <p:ext uri="{BB962C8B-B14F-4D97-AF65-F5344CB8AC3E}">
        <p14:creationId xmlns:p14="http://schemas.microsoft.com/office/powerpoint/2010/main" val="2624930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ipl2oFZpxzGxb8pifJ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VjFh44zkJVB2KECbYT4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32</TotalTime>
  <Words>252</Words>
  <Application>Microsoft Office PowerPoint</Application>
  <PresentationFormat>Widescreen</PresentationFormat>
  <Paragraphs>23</Paragraphs>
  <Slides>13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20" baseType="lpstr">
      <vt:lpstr>.AppleSystemUIFont</vt:lpstr>
      <vt:lpstr>Arial</vt:lpstr>
      <vt:lpstr>Calibri</vt:lpstr>
      <vt:lpstr>Calibri Light</vt:lpstr>
      <vt:lpstr>Georgia</vt:lpstr>
      <vt:lpstr>Office-tema</vt:lpstr>
      <vt:lpstr>think-cell Slide</vt:lpstr>
      <vt:lpstr>Brukerveiledning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ukerveiledning</dc:title>
  <dc:creator>Matias Myrestrand</dc:creator>
  <cp:lastModifiedBy>Gunhild Raunsgard</cp:lastModifiedBy>
  <cp:revision>7</cp:revision>
  <dcterms:created xsi:type="dcterms:W3CDTF">2023-11-03T14:12:13Z</dcterms:created>
  <dcterms:modified xsi:type="dcterms:W3CDTF">2023-11-13T08:29:41Z</dcterms:modified>
</cp:coreProperties>
</file>